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8" r:id="rId1"/>
  </p:sldMasterIdLst>
  <p:notesMasterIdLst>
    <p:notesMasterId r:id="rId6"/>
  </p:notesMasterIdLst>
  <p:handoutMasterIdLst>
    <p:handoutMasterId r:id="rId7"/>
  </p:handoutMasterIdLst>
  <p:sldIdLst>
    <p:sldId id="2134804706" r:id="rId2"/>
    <p:sldId id="2134804705" r:id="rId3"/>
    <p:sldId id="2134804707" r:id="rId4"/>
    <p:sldId id="2134804708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378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ry Saskia Stanila" initials="CSS" lastIdx="2" clrIdx="0"/>
  <p:cmAuthor id="2" name="Luigi" initials="L" lastIdx="1" clrIdx="1">
    <p:extLst>
      <p:ext uri="{19B8F6BF-5375-455C-9EA6-DF929625EA0E}">
        <p15:presenceInfo xmlns:p15="http://schemas.microsoft.com/office/powerpoint/2012/main" userId="Luig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44C66F81-60D0-41F3-BD94-36A2124DB039}">
  <a:tblStyle styleId="{44C66F81-60D0-41F3-BD94-36A2124DB039}" styleName="Schaeffler Tab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9050" cmpd="sng">
              <a:solidFill>
                <a:schemeClr val="accent3"/>
              </a:solidFill>
            </a:ln>
          </a:bottom>
          <a:insideH>
            <a:ln w="9525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>
        <a:fontRef idx="minor">
          <a:scrgbClr r="0" g="0" b="0"/>
        </a:fontRef>
        <a:schemeClr val="tx1"/>
      </a:tcTxStyle>
      <a:tcStyle>
        <a:tcBdr>
          <a:top>
            <a:ln>
              <a:noFill/>
            </a:ln>
          </a:top>
        </a:tcBdr>
        <a:fill>
          <a:solidFill>
            <a:srgbClr val="E3E3E3"/>
          </a:solidFill>
        </a:fill>
      </a:tcStyle>
    </a:lastRow>
    <a:firstRow>
      <a:tcTxStyle b="on"/>
      <a:tcStyle>
        <a:tcBdr>
          <a:top>
            <a:ln>
              <a:noFill/>
            </a:ln>
          </a:top>
          <a:bottom>
            <a:ln w="1905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1162" autoAdjust="0"/>
  </p:normalViewPr>
  <p:slideViewPr>
    <p:cSldViewPr showGuides="1">
      <p:cViewPr varScale="1">
        <p:scale>
          <a:sx n="114" d="100"/>
          <a:sy n="114" d="100"/>
        </p:scale>
        <p:origin x="414" y="144"/>
      </p:cViewPr>
      <p:guideLst>
        <p:guide pos="302"/>
        <p:guide pos="7378"/>
        <p:guide orient="horz" pos="3974"/>
        <p:guide orient="horz" pos="1026"/>
      </p:guideLst>
    </p:cSldViewPr>
  </p:slideViewPr>
  <p:outlineViewPr>
    <p:cViewPr>
      <p:scale>
        <a:sx n="33" d="100"/>
        <a:sy n="33" d="100"/>
      </p:scale>
      <p:origin x="0" y="-2925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9-27T15:28:19.503" idx="1">
    <p:pos x="7402" y="-2"/>
    <p:text/>
    <p:extLst>
      <p:ext uri="{C676402C-5697-4E1C-873F-D02D1690AC5C}">
        <p15:threadingInfo xmlns:p15="http://schemas.microsoft.com/office/powerpoint/2012/main" timeZoneBias="-1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8680" y="8820496"/>
            <a:ext cx="936104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/>
            </a:lvl1pPr>
          </a:lstStyle>
          <a:p>
            <a:pPr algn="l"/>
            <a:fld id="{05829D4B-DA62-4BFC-809E-15F35A608AB6}" type="datetime1">
              <a:rPr lang="en-US" sz="1000"/>
              <a:t>9/27/2023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556792" y="8820472"/>
            <a:ext cx="504056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88640" y="8820472"/>
            <a:ext cx="288032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/>
            </a:lvl1pPr>
          </a:lstStyle>
          <a:p>
            <a:fld id="{85170805-57F0-4185-904A-8327B8E48718}" type="slidenum">
              <a:rPr lang="en-US" sz="1000"/>
              <a:pPr/>
              <a:t>‹N›</a:t>
            </a:fld>
            <a:endParaRPr lang="en-US" sz="1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157192" y="395536"/>
            <a:ext cx="1440000" cy="16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5498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20688" y="8676456"/>
            <a:ext cx="864096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0546454C-C19B-459D-B1D7-0AB5ABE7B800}" type="datetime1">
              <a:rPr lang="en-US"/>
              <a:t>9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350" y="250825"/>
            <a:ext cx="5486400" cy="3086100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0648" y="3491880"/>
            <a:ext cx="6336704" cy="496855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556792" y="8676480"/>
            <a:ext cx="504056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41176" y="8676480"/>
            <a:ext cx="307504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7050EDB2-57C8-4CAE-B8DE-69B518AB0745}" type="slidenum">
              <a:rPr lang="en-US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94047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defRPr sz="14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>
        <a:schemeClr val="accent2"/>
      </a:buClr>
      <a:buFont typeface="Wingdings 3" panose="05040102010807070707" pitchFamily="18" charset="2"/>
      <a:buNone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>
        <a:schemeClr val="bg2"/>
      </a:buClr>
      <a:buFont typeface="Calibri" panose="020F050202020403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540000" indent="-180000" algn="l" defTabSz="914400" rtl="0" eaLnBrk="1" latinLnBrk="0" hangingPunct="1">
      <a:lnSpc>
        <a:spcPct val="100000"/>
      </a:lnSpc>
      <a:spcBef>
        <a:spcPts val="600"/>
      </a:spcBef>
      <a:spcAft>
        <a:spcPts val="0"/>
      </a:spcAft>
      <a:buClrTx/>
      <a:buFont typeface="Calibri" panose="020F050202020403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546454C-C19B-459D-B1D7-0AB5ABE7B800}" type="datetime1">
              <a:rPr lang="en-US" altLang="zh-CN" smtClean="0"/>
              <a:t>9/27/2023</a:t>
            </a:fld>
            <a:endParaRPr lang="en-US" altLang="zh-CN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50EDB2-57C8-4CAE-B8DE-69B518AB0745}" type="slidenum">
              <a:rPr lang="en-US" altLang="zh-CN" smtClean="0"/>
              <a:pPr/>
              <a:t>1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8108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5D6FCE2-68D7-4F3D-AFB1-058E6B733935}" type="datetime1">
              <a:rPr lang="en-US" altLang="zh-CN" smtClean="0"/>
              <a:t>9/27/2023</a:t>
            </a:fld>
            <a:endParaRPr lang="en-US" altLang="zh-CN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50EDB2-57C8-4CAE-B8DE-69B518AB0745}" type="slidenum">
              <a:rPr lang="en-US" altLang="zh-CN" smtClean="0"/>
              <a:pPr/>
              <a:t>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9036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3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696000" y="4077072"/>
            <a:ext cx="11016575" cy="792000"/>
          </a:xfrm>
          <a:prstGeom prst="rect">
            <a:avLst/>
          </a:prstGeom>
        </p:spPr>
        <p:txBody>
          <a:bodyPr tIns="0" anchor="b"/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A85A5AA7-48AF-4602-B055-91203610A8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4869656"/>
            <a:ext cx="11016574" cy="863600"/>
          </a:xfrm>
        </p:spPr>
        <p:txBody>
          <a:bodyPr anchor="b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0" indent="0" algn="l">
              <a:spcBef>
                <a:spcPts val="0"/>
              </a:spcBef>
              <a:buNone/>
              <a:defRPr b="0"/>
            </a:lvl3pPr>
            <a:lvl4pPr marL="0" indent="0" algn="l">
              <a:spcBef>
                <a:spcPts val="0"/>
              </a:spcBef>
              <a:buNone/>
              <a:defRPr b="0"/>
            </a:lvl4pPr>
            <a:lvl5pPr marL="0" indent="0" algn="l">
              <a:spcBef>
                <a:spcPts val="0"/>
              </a:spcBef>
              <a:buNone/>
              <a:defRPr b="0"/>
            </a:lvl5pPr>
            <a:lvl6pPr marL="0" indent="0" algn="l">
              <a:spcBef>
                <a:spcPts val="0"/>
              </a:spcBef>
              <a:buNone/>
              <a:defRPr b="0"/>
            </a:lvl6pPr>
            <a:lvl7pPr marL="0" indent="0" algn="l">
              <a:spcBef>
                <a:spcPts val="0"/>
              </a:spcBef>
              <a:buNone/>
              <a:defRPr b="0"/>
            </a:lvl7pPr>
            <a:lvl8pPr marL="0" indent="0" algn="l">
              <a:spcBef>
                <a:spcPts val="0"/>
              </a:spcBef>
              <a:buNone/>
              <a:defRPr b="0"/>
            </a:lvl8pPr>
            <a:lvl9pPr marL="0" indent="0" algn="l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Hide Copyright white field">
            <a:extLst>
              <a:ext uri="{FF2B5EF4-FFF2-40B4-BE49-F238E27FC236}">
                <a16:creationId xmlns:a16="http://schemas.microsoft.com/office/drawing/2014/main" id="{17755C1F-FDA8-44A8-9AE0-DAA752091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 rot="5400000">
            <a:off x="9242039" y="4747460"/>
            <a:ext cx="476673" cy="374441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 bwMode="gray">
          <a:xfrm>
            <a:off x="0" y="836613"/>
            <a:ext cx="12192000" cy="2880000"/>
          </a:xfrm>
          <a:prstGeom prst="rect">
            <a:avLst/>
          </a:prstGeom>
          <a:solidFill>
            <a:srgbClr val="E3E3E3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Green Marker">
            <a:extLst>
              <a:ext uri="{FF2B5EF4-FFF2-40B4-BE49-F238E27FC236}">
                <a16:creationId xmlns:a16="http://schemas.microsoft.com/office/drawing/2014/main" id="{B8307701-0ED4-494D-8CFD-0E5B82B4A3DB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 bwMode="gray">
          <a:xfrm>
            <a:off x="0" y="2672613"/>
            <a:ext cx="252000" cy="2088000"/>
          </a:xfrm>
          <a:solidFill>
            <a:srgbClr val="00893E">
              <a:alpha val="80000"/>
            </a:srgb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White Area Logo" hidden="1">
            <a:extLst>
              <a:ext uri="{FF2B5EF4-FFF2-40B4-BE49-F238E27FC236}">
                <a16:creationId xmlns:a16="http://schemas.microsoft.com/office/drawing/2014/main" id="{BD5D9C66-3F22-420A-8F4D-63BA0545EE26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765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Inhaltsplatzhalter 8">
            <a:extLst>
              <a:ext uri="{FF2B5EF4-FFF2-40B4-BE49-F238E27FC236}">
                <a16:creationId xmlns:a16="http://schemas.microsoft.com/office/drawing/2014/main" id="{51A62923-CEB0-40F7-BEC8-9810CFDFB4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1005" y="6308725"/>
            <a:ext cx="1633530" cy="18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043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27A164CE-CCA8-4888-9211-7BE8837A972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E626908-E1AB-4CFF-B589-18F14E8E97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4" y="1628676"/>
            <a:ext cx="5400676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6167438" y="1340767"/>
            <a:ext cx="60264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6311900" y="1484313"/>
            <a:ext cx="5545138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Content Placeholder Right"/>
          <p:cNvSpPr>
            <a:spLocks noGrp="1"/>
          </p:cNvSpPr>
          <p:nvPr>
            <p:ph sz="quarter" idx="17" hasCustomPrompt="1"/>
          </p:nvPr>
        </p:nvSpPr>
        <p:spPr bwMode="gray">
          <a:xfrm>
            <a:off x="6477000" y="1628675"/>
            <a:ext cx="52356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BFFC728D-DA4E-40A3-985F-E0B860D48858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F5537F9E-7E7D-4ABD-A7DF-89A4571531E1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7" name="White Area Logo" hidden="1">
            <a:extLst>
              <a:ext uri="{FF2B5EF4-FFF2-40B4-BE49-F238E27FC236}">
                <a16:creationId xmlns:a16="http://schemas.microsoft.com/office/drawing/2014/main" id="{34F8AD09-9877-4F9E-A213-15FC747CED8A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7612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Text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pter">
            <a:extLst>
              <a:ext uri="{FF2B5EF4-FFF2-40B4-BE49-F238E27FC236}">
                <a16:creationId xmlns:a16="http://schemas.microsoft.com/office/drawing/2014/main" id="{D4912701-0F1C-43DF-AA25-1EBFFF43684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6"/>
            <a:ext cx="8280400" cy="4391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9048328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336360" y="1628676"/>
            <a:ext cx="2376215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DBC8230-3EC6-4DF4-A435-4B4856A7E4EC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4774668-0BCB-4D9E-A23D-E9CF2E7D003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726010D0-A986-48F7-ACB0-8205E408BA0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83317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Text Box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pter">
            <a:extLst>
              <a:ext uri="{FF2B5EF4-FFF2-40B4-BE49-F238E27FC236}">
                <a16:creationId xmlns:a16="http://schemas.microsoft.com/office/drawing/2014/main" id="{36472B10-CB63-4BBE-BC58-D79219AF5B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0" y="1340767"/>
            <a:ext cx="3143672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noProof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ontent Placeholder Lef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896" y="1628676"/>
            <a:ext cx="237621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7" name="Content Placeholder Right">
            <a:extLst>
              <a:ext uri="{FF2B5EF4-FFF2-40B4-BE49-F238E27FC236}">
                <a16:creationId xmlns:a16="http://schemas.microsoft.com/office/drawing/2014/main" id="{CA26B44B-9BF5-4CBF-87F9-C7A9787E0C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432224" y="1628776"/>
            <a:ext cx="8280400" cy="43911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5ABA92E-4C10-4B37-8658-4AFC3D1ED30C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0D09401C-9B51-4C51-BEED-F42B1741E9E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AB76935F-A92E-4CAD-81EE-B38E1F6849D2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191090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Conten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FCBB1231-371B-43D9-A2EE-03D5FD5B7E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7319963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7751762" y="1628775"/>
            <a:ext cx="3960813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706D975E-C991-4795-B048-AAA5F08488F1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3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1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CD44816E-0CC3-4C4E-A0F3-05737A154956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630228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Conten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8E4BD567-E6E6-47C6-A8B9-277304BABC0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3000375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432175" y="1628775"/>
            <a:ext cx="8280401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ACE6A6B-1755-49E2-8595-47DC32E2B2AF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3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1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4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2EECA0DE-FF42-42BD-B62C-BDDFD87D063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94711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| Two Contents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CCA2FE1A-FD80-4861-BB60-F87DD1B87E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7A8FA3C-69D1-4B71-8755-F8B0029CAF29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 bwMode="gray">
          <a:xfrm>
            <a:off x="0" y="1341438"/>
            <a:ext cx="3000375" cy="5516561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Left">
            <a:extLst>
              <a:ext uri="{FF2B5EF4-FFF2-40B4-BE49-F238E27FC236}">
                <a16:creationId xmlns:a16="http://schemas.microsoft.com/office/drawing/2014/main" id="{80630B98-9998-4C96-BE61-119D3D206E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432177" y="1628775"/>
            <a:ext cx="3887960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9" name="Content Placeholder Right">
            <a:extLst>
              <a:ext uri="{FF2B5EF4-FFF2-40B4-BE49-F238E27FC236}">
                <a16:creationId xmlns:a16="http://schemas.microsoft.com/office/drawing/2014/main" id="{F63109F7-A293-49D9-BFDB-BE9787CF3B3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7752184" y="1628775"/>
            <a:ext cx="3960391" cy="46799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fld id="{815F6B34-149C-42FE-8A54-800BC786CD9E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2" name="Text Image Area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326486"/>
            <a:ext cx="12192000" cy="554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5" name="White Area Logo" hidden="1">
            <a:extLst>
              <a:ext uri="{FF2B5EF4-FFF2-40B4-BE49-F238E27FC236}">
                <a16:creationId xmlns:a16="http://schemas.microsoft.com/office/drawing/2014/main" id="{699C4487-7E5D-4328-A2E8-284FEABC6DEC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60789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8BCA2C33-D052-48B1-ACD7-E891194FBCEB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262124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|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Grey Rectangle">
            <a:extLst>
              <a:ext uri="{FF2B5EF4-FFF2-40B4-BE49-F238E27FC236}">
                <a16:creationId xmlns:a16="http://schemas.microsoft.com/office/drawing/2014/main" id="{5665A2BB-04A2-4E15-ABE8-3616641AA7B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0" y="1340767"/>
            <a:ext cx="12192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A2AC4BE-21A2-4F9A-BCF3-1FF752F16253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86957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">
            <a:extLst>
              <a:ext uri="{FF2B5EF4-FFF2-40B4-BE49-F238E27FC236}">
                <a16:creationId xmlns:a16="http://schemas.microsoft.com/office/drawing/2014/main" id="{378AA6AF-1A20-4252-9153-C71617A55F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F51C72A-8254-4239-BF3C-9A6CDF94C2F6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A44E59A1-4092-495B-993F-5EB21202AE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378099F-3C97-423A-9F67-8151D7BCB6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795237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ackup"/>
          <p:cNvSpPr/>
          <p:nvPr userDrawn="1"/>
        </p:nvSpPr>
        <p:spPr>
          <a:xfrm>
            <a:off x="5249615" y="3121224"/>
            <a:ext cx="1692771" cy="61555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kumimoji="0" lang="de-DE" sz="4000" b="0" i="0" u="none" strike="noStrike" kern="1200" cap="none" spc="0" normalizeH="0" baseline="0" noProof="0" dirty="0">
                <a:ln>
                  <a:noFill/>
                </a:ln>
                <a:solidFill>
                  <a:srgbClr val="B6BAC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ACKUP</a:t>
            </a:r>
            <a:endParaRPr lang="en-US" dirty="0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6E60343-2D85-44D6-9D18-166237D05AA3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9" name="Text Image Area" hidden="1"/>
          <p:cNvSpPr/>
          <p:nvPr userDrawn="1">
            <p:custDataLst>
              <p:tags r:id="rId1"/>
            </p:custDataLst>
          </p:nvPr>
        </p:nvSpPr>
        <p:spPr bwMode="gray">
          <a:xfrm>
            <a:off x="0" y="12883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2" name="White Area Logo" hidden="1">
            <a:extLst>
              <a:ext uri="{FF2B5EF4-FFF2-40B4-BE49-F238E27FC236}">
                <a16:creationId xmlns:a16="http://schemas.microsoft.com/office/drawing/2014/main" id="{6192CD53-FB56-4475-97BF-DC36F202953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216261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gray">
          <a:xfrm>
            <a:off x="8256240" y="3357000"/>
            <a:ext cx="3456335" cy="1691640"/>
          </a:xfrm>
          <a:prstGeom prst="rect">
            <a:avLst/>
          </a:prstGeom>
        </p:spPr>
        <p:txBody>
          <a:bodyPr tIns="0" anchor="t"/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1CB7C0D4-D598-4127-B651-51E0183A22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256241" y="4550387"/>
            <a:ext cx="3456336" cy="720725"/>
          </a:xfrm>
        </p:spPr>
        <p:txBody>
          <a:bodyPr anchor="b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None/>
              <a:defRPr b="0"/>
            </a:lvl2pPr>
            <a:lvl3pPr marL="0" indent="0" algn="l">
              <a:spcBef>
                <a:spcPts val="0"/>
              </a:spcBef>
              <a:buNone/>
              <a:defRPr b="0"/>
            </a:lvl3pPr>
            <a:lvl4pPr marL="0" indent="0" algn="l">
              <a:spcBef>
                <a:spcPts val="0"/>
              </a:spcBef>
              <a:buNone/>
              <a:defRPr b="0"/>
            </a:lvl4pPr>
            <a:lvl5pPr marL="0" indent="0" algn="l">
              <a:spcBef>
                <a:spcPts val="0"/>
              </a:spcBef>
              <a:buNone/>
              <a:defRPr b="0"/>
            </a:lvl5pPr>
            <a:lvl6pPr marL="0" indent="0" algn="l">
              <a:spcBef>
                <a:spcPts val="0"/>
              </a:spcBef>
              <a:buNone/>
              <a:defRPr b="0"/>
            </a:lvl6pPr>
            <a:lvl7pPr marL="0" indent="0" algn="l">
              <a:spcBef>
                <a:spcPts val="0"/>
              </a:spcBef>
              <a:buNone/>
              <a:defRPr b="0"/>
            </a:lvl7pPr>
            <a:lvl8pPr marL="0" indent="0" algn="l">
              <a:spcBef>
                <a:spcPts val="0"/>
              </a:spcBef>
              <a:buNone/>
              <a:defRPr b="0"/>
            </a:lvl8pPr>
            <a:lvl9pPr marL="0" indent="0" algn="l">
              <a:spcBef>
                <a:spcPts val="0"/>
              </a:spcBef>
              <a:buNone/>
              <a:defRPr b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8" name="Hide Copyright white field">
            <a:extLst>
              <a:ext uri="{FF2B5EF4-FFF2-40B4-BE49-F238E27FC236}">
                <a16:creationId xmlns:a16="http://schemas.microsoft.com/office/drawing/2014/main" id="{C3A2F554-6550-48D0-96C8-F0AA9E14D48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 rot="5400000">
            <a:off x="9239727" y="4745147"/>
            <a:ext cx="476673" cy="374904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Picture Placeholder"/>
          <p:cNvSpPr>
            <a:spLocks noGrp="1"/>
          </p:cNvSpPr>
          <p:nvPr>
            <p:ph type="pic" sz="quarter" idx="10" hasCustomPrompt="1"/>
            <p:custDataLst>
              <p:tags r:id="rId2"/>
            </p:custDataLst>
          </p:nvPr>
        </p:nvSpPr>
        <p:spPr bwMode="gray">
          <a:xfrm>
            <a:off x="0" y="0"/>
            <a:ext cx="7776000" cy="6858000"/>
          </a:xfrm>
          <a:prstGeom prst="rect">
            <a:avLst/>
          </a:prstGeom>
          <a:solidFill>
            <a:srgbClr val="E3E3E3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Green Marker">
            <a:extLst>
              <a:ext uri="{FF2B5EF4-FFF2-40B4-BE49-F238E27FC236}">
                <a16:creationId xmlns:a16="http://schemas.microsoft.com/office/drawing/2014/main" id="{1CBD09FA-B9D1-408B-9DA6-B7B716E29861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 bwMode="gray">
          <a:xfrm>
            <a:off x="7662000" y="3358800"/>
            <a:ext cx="234000" cy="2088000"/>
          </a:xfrm>
          <a:solidFill>
            <a:srgbClr val="00893E">
              <a:alpha val="80000"/>
            </a:srgbClr>
          </a:solidFill>
        </p:spPr>
        <p:txBody>
          <a:bodyPr/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White Area Logo" hidden="1">
            <a:extLst>
              <a:ext uri="{FF2B5EF4-FFF2-40B4-BE49-F238E27FC236}">
                <a16:creationId xmlns:a16="http://schemas.microsoft.com/office/drawing/2014/main" id="{D383153A-E3BC-493D-AD87-A4B89BA1AF4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Inhaltsplatzhalter 8">
            <a:extLst>
              <a:ext uri="{FF2B5EF4-FFF2-40B4-BE49-F238E27FC236}">
                <a16:creationId xmlns:a16="http://schemas.microsoft.com/office/drawing/2014/main" id="{FDDB1E25-54A8-498E-AA6B-72579A6F14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1005" y="6308725"/>
            <a:ext cx="1633530" cy="18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259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479376" y="2971800"/>
            <a:ext cx="2520000" cy="57600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6951B1BA-8093-4A5B-A719-21951C5998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3789363"/>
            <a:ext cx="2519363" cy="25193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439816" y="1628775"/>
            <a:ext cx="7272760" cy="4680545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F1C5BDA-1A9B-41A4-96C9-548A1DA4AB83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70A2E5BF-9DFB-4F2C-88A3-C061BC2B47D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791534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NLY | DO NOT USE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pter">
            <a:extLst>
              <a:ext uri="{FF2B5EF4-FFF2-40B4-BE49-F238E27FC236}">
                <a16:creationId xmlns:a16="http://schemas.microsoft.com/office/drawing/2014/main" id="{DAE42398-E9F4-4227-9445-73ACC18738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79425" y="403200"/>
            <a:ext cx="7164000" cy="216025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D88A8ACA-2FB1-45F4-B8E9-F055E73F7ED8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9" name="Text Image Area" hidden="1"/>
          <p:cNvSpPr/>
          <p:nvPr userDrawn="1">
            <p:custDataLst>
              <p:tags r:id="rId1"/>
            </p:custDataLst>
          </p:nvPr>
        </p:nvSpPr>
        <p:spPr bwMode="gray">
          <a:xfrm>
            <a:off x="0" y="1288386"/>
            <a:ext cx="12192000" cy="5580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2" name="White Area Logo" hidden="1">
            <a:extLst>
              <a:ext uri="{FF2B5EF4-FFF2-40B4-BE49-F238E27FC236}">
                <a16:creationId xmlns:a16="http://schemas.microsoft.com/office/drawing/2014/main" id="{6192CD53-FB56-4475-97BF-DC36F202953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32836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Blume enthält.&#10;&#10;Automatisch generierte Beschreibung">
            <a:extLst>
              <a:ext uri="{FF2B5EF4-FFF2-40B4-BE49-F238E27FC236}">
                <a16:creationId xmlns:a16="http://schemas.microsoft.com/office/drawing/2014/main" id="{64D39CA2-7241-4FA8-9455-E5D6774D0A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6" b="39456"/>
          <a:stretch/>
        </p:blipFill>
        <p:spPr>
          <a:xfrm>
            <a:off x="1844351" y="2881360"/>
            <a:ext cx="8503298" cy="126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299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Slogan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">
            <a:extLst>
              <a:ext uri="{FF2B5EF4-FFF2-40B4-BE49-F238E27FC236}">
                <a16:creationId xmlns:a16="http://schemas.microsoft.com/office/drawing/2014/main" id="{5C136412-AAF7-4148-A3EA-0470DE177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2644239" y="3044151"/>
            <a:ext cx="6903522" cy="769698"/>
          </a:xfrm>
          <a:prstGeom prst="rect">
            <a:avLst/>
          </a:prstGeom>
        </p:spPr>
      </p:pic>
      <p:pic>
        <p:nvPicPr>
          <p:cNvPr id="4" name="Grafik 3" descr="Ein Bild, das Blume enthält.&#10;&#10;Automatisch generierte Beschreibung">
            <a:extLst>
              <a:ext uri="{FF2B5EF4-FFF2-40B4-BE49-F238E27FC236}">
                <a16:creationId xmlns:a16="http://schemas.microsoft.com/office/drawing/2014/main" id="{A229705F-CCF9-4429-BABD-3AC17D603F8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6" b="39456"/>
          <a:stretch/>
        </p:blipFill>
        <p:spPr>
          <a:xfrm>
            <a:off x="1844351" y="2881360"/>
            <a:ext cx="8503298" cy="126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21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6D64FFEB-661E-4ABF-80B8-2EBB565E49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Content Placeholder">
            <a:extLst>
              <a:ext uri="{FF2B5EF4-FFF2-40B4-BE49-F238E27FC236}">
                <a16:creationId xmlns:a16="http://schemas.microsoft.com/office/drawing/2014/main" id="{FF4308F2-09F5-4F8D-BDB8-27F49E9AA2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479425" y="1628775"/>
            <a:ext cx="11233150" cy="4679950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B501667-622E-433B-99CA-610B83FAEAD3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0" name="Text Image Area" hidden="1">
            <a:extLst>
              <a:ext uri="{FF2B5EF4-FFF2-40B4-BE49-F238E27FC236}">
                <a16:creationId xmlns:a16="http://schemas.microsoft.com/office/drawing/2014/main" id="{376349E2-457D-4EEB-957E-197C0F7F77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3" name="White Area Logo" hidden="1">
            <a:extLst>
              <a:ext uri="{FF2B5EF4-FFF2-40B4-BE49-F238E27FC236}">
                <a16:creationId xmlns:a16="http://schemas.microsoft.com/office/drawing/2014/main" id="{D826ACE7-4702-44A9-A5E6-58886EA7AEB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46582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pter">
            <a:extLst>
              <a:ext uri="{FF2B5EF4-FFF2-40B4-BE49-F238E27FC236}">
                <a16:creationId xmlns:a16="http://schemas.microsoft.com/office/drawing/2014/main" id="{7480F695-072D-4A2D-A614-53D1484EE59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515E1E56-D0EE-4000-ADE0-D2A5DF470A9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5400551" cy="4679943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2" name="Content Placeholder Right">
            <a:extLst>
              <a:ext uri="{FF2B5EF4-FFF2-40B4-BE49-F238E27FC236}">
                <a16:creationId xmlns:a16="http://schemas.microsoft.com/office/drawing/2014/main" id="{D6416931-E5E2-470D-A4A1-2D651D60E90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312024" y="1628800"/>
            <a:ext cx="5400551" cy="4680050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8A0C29E-EED0-46D9-823A-64F3C77D3A8F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9CCBF4F7-3C50-49FE-8295-5FCA1A7D4AB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AE730489-1DEC-4CA5-BAFB-D41332F79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39575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pter">
            <a:extLst>
              <a:ext uri="{FF2B5EF4-FFF2-40B4-BE49-F238E27FC236}">
                <a16:creationId xmlns:a16="http://schemas.microsoft.com/office/drawing/2014/main" id="{A4504A24-CB02-4C7D-AE28-9F0761D3042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18ACCA9B-C9B1-4759-B76E-DF5BCE079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Content Placeholder Left">
            <a:extLst>
              <a:ext uri="{FF2B5EF4-FFF2-40B4-BE49-F238E27FC236}">
                <a16:creationId xmlns:a16="http://schemas.microsoft.com/office/drawing/2014/main" id="{827A835E-9F7E-4A78-8074-CA3D2DE356F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8" name="Content Placeholder Center">
            <a:extLst>
              <a:ext uri="{FF2B5EF4-FFF2-40B4-BE49-F238E27FC236}">
                <a16:creationId xmlns:a16="http://schemas.microsoft.com/office/drawing/2014/main" id="{B48F0E53-30EF-4992-8F5B-C1BF842AC08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4367857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9" name="Content Placeholder Right">
            <a:extLst>
              <a:ext uri="{FF2B5EF4-FFF2-40B4-BE49-F238E27FC236}">
                <a16:creationId xmlns:a16="http://schemas.microsoft.com/office/drawing/2014/main" id="{0D014D8B-B810-41B6-80C9-F7330F53E95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8256240" y="1628800"/>
            <a:ext cx="3456335" cy="4679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3A8683C4-11B1-429D-A2FC-459F21B70841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4" name="Text Image Area" hidden="1">
            <a:extLst>
              <a:ext uri="{FF2B5EF4-FFF2-40B4-BE49-F238E27FC236}">
                <a16:creationId xmlns:a16="http://schemas.microsoft.com/office/drawing/2014/main" id="{49215CBF-CA8B-459A-9866-6E75723ECC3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5" name="White Area Logo" hidden="1">
            <a:extLst>
              <a:ext uri="{FF2B5EF4-FFF2-40B4-BE49-F238E27FC236}">
                <a16:creationId xmlns:a16="http://schemas.microsoft.com/office/drawing/2014/main" id="{F0ACF004-EC43-48FA-98D3-F8CE9971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12933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pter">
            <a:extLst>
              <a:ext uri="{FF2B5EF4-FFF2-40B4-BE49-F238E27FC236}">
                <a16:creationId xmlns:a16="http://schemas.microsoft.com/office/drawing/2014/main" id="{7480F695-072D-4A2D-A614-53D1484EE59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0" name="Content Placeholder Top Left">
            <a:extLst>
              <a:ext uri="{FF2B5EF4-FFF2-40B4-BE49-F238E27FC236}">
                <a16:creationId xmlns:a16="http://schemas.microsoft.com/office/drawing/2014/main" id="{515E1E56-D0EE-4000-ADE0-D2A5DF470A9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800"/>
            <a:ext cx="5400551" cy="2232248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2" name="Content Placeholder Top Right">
            <a:extLst>
              <a:ext uri="{FF2B5EF4-FFF2-40B4-BE49-F238E27FC236}">
                <a16:creationId xmlns:a16="http://schemas.microsoft.com/office/drawing/2014/main" id="{D6416931-E5E2-470D-A4A1-2D651D60E90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312024" y="1628800"/>
            <a:ext cx="5400551" cy="2232248"/>
          </a:xfrm>
        </p:spPr>
        <p:txBody>
          <a:bodyPr/>
          <a:lstStyle>
            <a:lvl1pPr>
              <a:defRPr/>
            </a:lvl1pPr>
            <a:lvl2pPr>
              <a:buClr>
                <a:srgbClr val="006E5D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7" name="Content Placeholder Bottom Left"/>
          <p:cNvSpPr>
            <a:spLocks noGrp="1"/>
          </p:cNvSpPr>
          <p:nvPr>
            <p:ph sz="quarter" idx="19" hasCustomPrompt="1"/>
          </p:nvPr>
        </p:nvSpPr>
        <p:spPr>
          <a:xfrm>
            <a:off x="479425" y="4076602"/>
            <a:ext cx="5400675" cy="22322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9" name="Content Placeholder Bottom Right"/>
          <p:cNvSpPr>
            <a:spLocks noGrp="1"/>
          </p:cNvSpPr>
          <p:nvPr>
            <p:ph sz="quarter" idx="20" hasCustomPrompt="1"/>
          </p:nvPr>
        </p:nvSpPr>
        <p:spPr>
          <a:xfrm>
            <a:off x="6312024" y="4076700"/>
            <a:ext cx="5400551" cy="223224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9A4F7071-5312-4DD0-B10C-0F83036D7DBF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5" name="Text Image Area" hidden="1">
            <a:extLst>
              <a:ext uri="{FF2B5EF4-FFF2-40B4-BE49-F238E27FC236}">
                <a16:creationId xmlns:a16="http://schemas.microsoft.com/office/drawing/2014/main" id="{9CCBF4F7-3C50-49FE-8295-5FCA1A7D4AB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1" name="White Area Logo" hidden="1">
            <a:extLst>
              <a:ext uri="{FF2B5EF4-FFF2-40B4-BE49-F238E27FC236}">
                <a16:creationId xmlns:a16="http://schemas.microsoft.com/office/drawing/2014/main" id="{AE730489-1DEC-4CA5-BAFB-D41332F793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83622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">
            <a:extLst>
              <a:ext uri="{FF2B5EF4-FFF2-40B4-BE49-F238E27FC236}">
                <a16:creationId xmlns:a16="http://schemas.microsoft.com/office/drawing/2014/main" id="{810D668D-1A02-4B26-B0BC-88299D728FB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-23688" y="1340767"/>
            <a:ext cx="8928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34961" y="1484313"/>
            <a:ext cx="8424863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Content Placeholder Left"/>
          <p:cNvSpPr>
            <a:spLocks noGrp="1"/>
          </p:cNvSpPr>
          <p:nvPr>
            <p:ph sz="quarter" idx="17" hasCustomPrompt="1"/>
          </p:nvPr>
        </p:nvSpPr>
        <p:spPr bwMode="gray">
          <a:xfrm>
            <a:off x="479376" y="1628675"/>
            <a:ext cx="81312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9192816" y="1628676"/>
            <a:ext cx="2519760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F9C4226-D5E3-4B1E-8D46-637F41322B6D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9C06A4EA-2DF7-43D0-8D10-629173B1899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94E138D6-0483-4648-A8DC-725118814EF6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783879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>
        <p15:guide id="7" orient="horz" pos="1026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pter">
            <a:extLst>
              <a:ext uri="{FF2B5EF4-FFF2-40B4-BE49-F238E27FC236}">
                <a16:creationId xmlns:a16="http://schemas.microsoft.com/office/drawing/2014/main" id="{8A2B0321-FEDA-454F-893C-A87E6FCBB83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CE626908-E1AB-4CFF-B589-18F14E8E9724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4" y="1628676"/>
            <a:ext cx="2520231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3284480" y="1340767"/>
            <a:ext cx="8910000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432175" y="1484313"/>
            <a:ext cx="8424863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Content Placeholder Right"/>
          <p:cNvSpPr>
            <a:spLocks noGrp="1"/>
          </p:cNvSpPr>
          <p:nvPr>
            <p:ph sz="quarter" idx="17" hasCustomPrompt="1"/>
          </p:nvPr>
        </p:nvSpPr>
        <p:spPr bwMode="gray">
          <a:xfrm>
            <a:off x="3581400" y="1628675"/>
            <a:ext cx="81312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6BD9AAFC-B561-447C-8F22-53F059F2C200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C11329F0-0CA9-4E24-8198-7D9BA881266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7" name="White Area Logo" hidden="1">
            <a:extLst>
              <a:ext uri="{FF2B5EF4-FFF2-40B4-BE49-F238E27FC236}">
                <a16:creationId xmlns:a16="http://schemas.microsoft.com/office/drawing/2014/main" id="{E966BD5E-1110-43FD-A403-8EC4621929D5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64556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| Grey Box |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pter">
            <a:extLst>
              <a:ext uri="{FF2B5EF4-FFF2-40B4-BE49-F238E27FC236}">
                <a16:creationId xmlns:a16="http://schemas.microsoft.com/office/drawing/2014/main" id="{8E7CD466-AB34-46C4-87D4-B566740341E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 bwMode="gray">
          <a:xfrm>
            <a:off x="479376" y="404664"/>
            <a:ext cx="716400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F72890-08D2-403D-A65E-6DD4F633E3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Grey Rectangle">
            <a:extLst>
              <a:ext uri="{FF2B5EF4-FFF2-40B4-BE49-F238E27FC236}">
                <a16:creationId xmlns:a16="http://schemas.microsoft.com/office/drawing/2014/main" id="{02EE3BEB-7F7C-417B-BDB5-3AEACA8B78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-23688" y="1340767"/>
            <a:ext cx="6048251" cy="4967957"/>
          </a:xfrm>
          <a:prstGeom prst="rect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White Rectangle">
            <a:extLst>
              <a:ext uri="{FF2B5EF4-FFF2-40B4-BE49-F238E27FC236}">
                <a16:creationId xmlns:a16="http://schemas.microsoft.com/office/drawing/2014/main" id="{9B9AD2B1-578A-4211-9541-BA4E9EE21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334961" y="1484313"/>
            <a:ext cx="5545139" cy="468099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Content Placeholder Left"/>
          <p:cNvSpPr>
            <a:spLocks noGrp="1"/>
          </p:cNvSpPr>
          <p:nvPr>
            <p:ph sz="quarter" idx="17" hasCustomPrompt="1"/>
          </p:nvPr>
        </p:nvSpPr>
        <p:spPr bwMode="gray">
          <a:xfrm>
            <a:off x="479376" y="1628675"/>
            <a:ext cx="5235624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1" name="Content Placeholder Right">
            <a:extLst>
              <a:ext uri="{FF2B5EF4-FFF2-40B4-BE49-F238E27FC236}">
                <a16:creationId xmlns:a16="http://schemas.microsoft.com/office/drawing/2014/main" id="{59CDA235-7A85-4201-984D-3DF266BEC8C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6311900" y="1628676"/>
            <a:ext cx="5400676" cy="4391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C63980CD-A0BA-4726-A8D4-311F8A2C088F}" type="datetime1">
              <a:rPr lang="en-US"/>
              <a:pPr/>
              <a:t>9/27/2023</a:t>
            </a:fld>
            <a:endParaRPr lang="en-US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CCF10D83-73B2-4D20-BE53-AA27B2521160}" type="slidenum">
              <a:rPr lang="en-US"/>
              <a:pPr/>
              <a:t>‹N›</a:t>
            </a:fld>
            <a:endParaRPr lang="en-US" dirty="0"/>
          </a:p>
        </p:txBody>
      </p:sp>
      <p:sp>
        <p:nvSpPr>
          <p:cNvPr id="16" name="Text Image Area" hidden="1">
            <a:extLst>
              <a:ext uri="{FF2B5EF4-FFF2-40B4-BE49-F238E27FC236}">
                <a16:creationId xmlns:a16="http://schemas.microsoft.com/office/drawing/2014/main" id="{7FB0123E-DD69-46B9-B0AE-8C4DEA28652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1341000"/>
            <a:ext cx="12192000" cy="5004000"/>
          </a:xfrm>
          <a:prstGeom prst="rect">
            <a:avLst/>
          </a:prstGeom>
          <a:noFill/>
          <a:ln w="19050">
            <a:solidFill>
              <a:srgbClr val="FFE1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</a:endParaRPr>
          </a:p>
        </p:txBody>
      </p:sp>
      <p:sp>
        <p:nvSpPr>
          <p:cNvPr id="14" name="White Area Logo" hidden="1">
            <a:extLst>
              <a:ext uri="{FF2B5EF4-FFF2-40B4-BE49-F238E27FC236}">
                <a16:creationId xmlns:a16="http://schemas.microsoft.com/office/drawing/2014/main" id="{E5750C36-EC33-4FB3-B7BD-35D9417369C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9408000" y="0"/>
            <a:ext cx="2784000" cy="1053000"/>
          </a:xfrm>
          <a:prstGeom prst="rect">
            <a:avLst/>
          </a:prstGeom>
          <a:noFill/>
          <a:ln w="6350">
            <a:solidFill>
              <a:srgbClr val="A317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04353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81054ED-F1F1-438D-A9B0-EB546F746F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4768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59" imgH="360" progId="TCLayout.ActiveDocument.1">
                  <p:embed/>
                </p:oleObj>
              </mc:Choice>
              <mc:Fallback>
                <p:oleObj name="think-cell Folie" r:id="rId34" imgW="359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81054ED-F1F1-438D-A9B0-EB546F746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9B6EF32-BB33-4644-8BAB-B4169B304338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E3E3E3"/>
          </a:solidFill>
          <a:ln w="6350">
            <a:solidFill>
              <a:srgbClr val="E3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800" b="1" i="0" u="none" baseline="0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8" name="Title Placeholder"/>
          <p:cNvSpPr>
            <a:spLocks noGrp="1"/>
          </p:cNvSpPr>
          <p:nvPr>
            <p:ph type="title"/>
          </p:nvPr>
        </p:nvSpPr>
        <p:spPr bwMode="gray">
          <a:xfrm>
            <a:off x="479376" y="692752"/>
            <a:ext cx="8424000" cy="576008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en-US" altLang="zh-CN" dirty="0"/>
              <a:t>Click to edit title</a:t>
            </a:r>
          </a:p>
        </p:txBody>
      </p:sp>
      <p:sp>
        <p:nvSpPr>
          <p:cNvPr id="3" name="Text Placeholde">
            <a:extLst>
              <a:ext uri="{FF2B5EF4-FFF2-40B4-BE49-F238E27FC236}">
                <a16:creationId xmlns:a16="http://schemas.microsoft.com/office/drawing/2014/main" id="{BE3325E8-5D13-4633-A1AC-0F9AE722AC8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628775"/>
            <a:ext cx="11233101" cy="4679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altLang="zh-CN" dirty="0" err="1"/>
              <a:t>Mastertextformat</a:t>
            </a:r>
            <a:r>
              <a:rPr lang="en-US" altLang="zh-CN" dirty="0"/>
              <a:t> </a:t>
            </a:r>
            <a:r>
              <a:rPr lang="en-US" altLang="zh-CN" dirty="0" err="1"/>
              <a:t>bearbeiten</a:t>
            </a:r>
            <a:endParaRPr lang="en-US" altLang="zh-CN" dirty="0"/>
          </a:p>
          <a:p>
            <a:pPr lvl="1"/>
            <a:r>
              <a:rPr lang="en-US" altLang="zh-CN" dirty="0" err="1"/>
              <a:t>Zweite</a:t>
            </a:r>
            <a:r>
              <a:rPr lang="en-US" altLang="zh-CN" dirty="0"/>
              <a:t> Ebene</a:t>
            </a:r>
          </a:p>
          <a:p>
            <a:pPr lvl="2"/>
            <a:r>
              <a:rPr lang="en-US" altLang="zh-CN" dirty="0" err="1"/>
              <a:t>Dritte</a:t>
            </a:r>
            <a:r>
              <a:rPr lang="en-US" altLang="zh-CN" dirty="0"/>
              <a:t> Ebene</a:t>
            </a:r>
          </a:p>
          <a:p>
            <a:pPr lvl="3"/>
            <a:r>
              <a:rPr lang="en-US" altLang="zh-CN" dirty="0" err="1"/>
              <a:t>Vierte</a:t>
            </a:r>
            <a:r>
              <a:rPr lang="en-US" altLang="zh-CN" dirty="0"/>
              <a:t> Ebene</a:t>
            </a:r>
          </a:p>
          <a:p>
            <a:pPr lvl="4"/>
            <a:r>
              <a:rPr lang="en-US" altLang="zh-CN" dirty="0" err="1"/>
              <a:t>Fünfte</a:t>
            </a:r>
            <a:r>
              <a:rPr lang="en-US" altLang="zh-CN" dirty="0"/>
              <a:t> Ebene</a:t>
            </a:r>
          </a:p>
        </p:txBody>
      </p:sp>
      <p:pic>
        <p:nvPicPr>
          <p:cNvPr id="64" name="Logo">
            <a:extLst>
              <a:ext uri="{FF2B5EF4-FFF2-40B4-BE49-F238E27FC236}">
                <a16:creationId xmlns:a16="http://schemas.microsoft.com/office/drawing/2014/main" id="{4A48A30F-148F-4B59-BDF8-CD6D3B232FD8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092526" y="477000"/>
            <a:ext cx="1620000" cy="180867"/>
          </a:xfrm>
          <a:prstGeom prst="rect">
            <a:avLst/>
          </a:prstGeom>
        </p:spPr>
      </p:pic>
      <p:sp>
        <p:nvSpPr>
          <p:cNvPr id="6" name="empower - DO NOT DELETE!!!">
            <a:extLst>
              <a:ext uri="{FF2B5EF4-FFF2-40B4-BE49-F238E27FC236}">
                <a16:creationId xmlns:a16="http://schemas.microsoft.com/office/drawing/2014/main" id="{7EA0EB00-4E17-41DD-8CC8-265931ED9BDF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rgbClr val="E3E3E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0CCA7C-7368-4710-9822-2D86D40901CA}"/>
              </a:ext>
            </a:extLst>
          </p:cNvPr>
          <p:cNvCxnSpPr/>
          <p:nvPr userDrawn="1"/>
        </p:nvCxnSpPr>
        <p:spPr bwMode="gray">
          <a:xfrm>
            <a:off x="616800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80E01C1-2439-401E-B582-FCAF11A7550A}"/>
              </a:ext>
            </a:extLst>
          </p:cNvPr>
          <p:cNvCxnSpPr/>
          <p:nvPr userDrawn="1"/>
        </p:nvCxnSpPr>
        <p:spPr bwMode="gray">
          <a:xfrm>
            <a:off x="602399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7AFA0E7-F24B-45F5-828A-816C1CC552B7}"/>
              </a:ext>
            </a:extLst>
          </p:cNvPr>
          <p:cNvCxnSpPr/>
          <p:nvPr userDrawn="1"/>
        </p:nvCxnSpPr>
        <p:spPr bwMode="gray">
          <a:xfrm>
            <a:off x="472784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500CE7-E8E0-480C-8B18-9593206B0309}"/>
              </a:ext>
            </a:extLst>
          </p:cNvPr>
          <p:cNvCxnSpPr/>
          <p:nvPr userDrawn="1"/>
        </p:nvCxnSpPr>
        <p:spPr bwMode="gray">
          <a:xfrm>
            <a:off x="458383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5509979-E947-47A6-9F54-31F5114A0C6B}"/>
              </a:ext>
            </a:extLst>
          </p:cNvPr>
          <p:cNvCxnSpPr/>
          <p:nvPr userDrawn="1"/>
        </p:nvCxnSpPr>
        <p:spPr bwMode="gray">
          <a:xfrm>
            <a:off x="746415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3D30FDE-1C58-4375-ABC3-F45DDF817730}"/>
              </a:ext>
            </a:extLst>
          </p:cNvPr>
          <p:cNvCxnSpPr/>
          <p:nvPr userDrawn="1"/>
        </p:nvCxnSpPr>
        <p:spPr bwMode="gray">
          <a:xfrm>
            <a:off x="760816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5BD8019-71B7-46A0-9122-CCC798C56431}"/>
              </a:ext>
            </a:extLst>
          </p:cNvPr>
          <p:cNvCxnSpPr/>
          <p:nvPr userDrawn="1"/>
        </p:nvCxnSpPr>
        <p:spPr bwMode="gray">
          <a:xfrm>
            <a:off x="328768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8BE7AAF7-DF0B-429F-8295-82B05E77D1A2}"/>
              </a:ext>
            </a:extLst>
          </p:cNvPr>
          <p:cNvCxnSpPr/>
          <p:nvPr userDrawn="1"/>
        </p:nvCxnSpPr>
        <p:spPr bwMode="gray">
          <a:xfrm>
            <a:off x="314367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FE8B336-7FC5-452D-972B-03A3FDD062D8}"/>
              </a:ext>
            </a:extLst>
          </p:cNvPr>
          <p:cNvCxnSpPr/>
          <p:nvPr userDrawn="1"/>
        </p:nvCxnSpPr>
        <p:spPr bwMode="gray">
          <a:xfrm>
            <a:off x="184752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42DA96F-C391-4975-AF71-D40DB2257A90}"/>
              </a:ext>
            </a:extLst>
          </p:cNvPr>
          <p:cNvCxnSpPr/>
          <p:nvPr userDrawn="1"/>
        </p:nvCxnSpPr>
        <p:spPr bwMode="gray">
          <a:xfrm>
            <a:off x="170351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7314915-1D51-4783-A653-01F9F05849B3}"/>
              </a:ext>
            </a:extLst>
          </p:cNvPr>
          <p:cNvCxnSpPr/>
          <p:nvPr userDrawn="1"/>
        </p:nvCxnSpPr>
        <p:spPr bwMode="gray">
          <a:xfrm>
            <a:off x="335360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DD1ADEA-3E97-4B37-AD88-4F70BBCAC871}"/>
              </a:ext>
            </a:extLst>
          </p:cNvPr>
          <p:cNvCxnSpPr/>
          <p:nvPr userDrawn="1"/>
        </p:nvCxnSpPr>
        <p:spPr bwMode="gray">
          <a:xfrm>
            <a:off x="890431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B8B9026-B86A-47BB-8C06-2423BB7E8251}"/>
              </a:ext>
            </a:extLst>
          </p:cNvPr>
          <p:cNvCxnSpPr/>
          <p:nvPr userDrawn="1"/>
        </p:nvCxnSpPr>
        <p:spPr bwMode="gray">
          <a:xfrm>
            <a:off x="904832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07832BD-6FCB-449E-8BDD-405178D1E3CF}"/>
              </a:ext>
            </a:extLst>
          </p:cNvPr>
          <p:cNvCxnSpPr/>
          <p:nvPr userDrawn="1"/>
        </p:nvCxnSpPr>
        <p:spPr bwMode="gray">
          <a:xfrm>
            <a:off x="10344472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177AD21-DFC1-47E3-90B9-2254987F3DC7}"/>
              </a:ext>
            </a:extLst>
          </p:cNvPr>
          <p:cNvCxnSpPr/>
          <p:nvPr userDrawn="1"/>
        </p:nvCxnSpPr>
        <p:spPr bwMode="gray">
          <a:xfrm>
            <a:off x="10488488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EDACD2E-8435-4F3C-86CF-1CA9DD785BD9}"/>
              </a:ext>
            </a:extLst>
          </p:cNvPr>
          <p:cNvCxnSpPr/>
          <p:nvPr userDrawn="1"/>
        </p:nvCxnSpPr>
        <p:spPr bwMode="gray">
          <a:xfrm>
            <a:off x="11856640" y="-189392"/>
            <a:ext cx="0" cy="90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7ED955-08A3-4B3D-AF19-3937132671FC}"/>
              </a:ext>
            </a:extLst>
          </p:cNvPr>
          <p:cNvCxnSpPr/>
          <p:nvPr userDrawn="1"/>
        </p:nvCxnSpPr>
        <p:spPr bwMode="gray">
          <a:xfrm>
            <a:off x="-240704" y="1340768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7E5319B-576B-4A7B-AEF8-08D10C6B0769}"/>
              </a:ext>
            </a:extLst>
          </p:cNvPr>
          <p:cNvCxnSpPr/>
          <p:nvPr userDrawn="1"/>
        </p:nvCxnSpPr>
        <p:spPr bwMode="gray">
          <a:xfrm>
            <a:off x="-240704" y="6309320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C48FF8B-0557-4FD1-8620-50A080A48453}"/>
              </a:ext>
            </a:extLst>
          </p:cNvPr>
          <p:cNvCxnSpPr/>
          <p:nvPr userDrawn="1"/>
        </p:nvCxnSpPr>
        <p:spPr bwMode="gray">
          <a:xfrm>
            <a:off x="-240704" y="1628800"/>
            <a:ext cx="9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6078B39-8D23-4242-ACB1-78D29DC0B0D0}"/>
              </a:ext>
            </a:extLst>
          </p:cNvPr>
          <p:cNvCxnSpPr/>
          <p:nvPr userDrawn="1"/>
        </p:nvCxnSpPr>
        <p:spPr bwMode="gray">
          <a:xfrm>
            <a:off x="631202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C7619B7-0EAA-4D7B-82DC-3AD4C8291606}"/>
              </a:ext>
            </a:extLst>
          </p:cNvPr>
          <p:cNvCxnSpPr/>
          <p:nvPr userDrawn="1"/>
        </p:nvCxnSpPr>
        <p:spPr bwMode="gray">
          <a:xfrm>
            <a:off x="487186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9030A0D-E516-446A-811E-D10B728D0F33}"/>
              </a:ext>
            </a:extLst>
          </p:cNvPr>
          <p:cNvCxnSpPr/>
          <p:nvPr userDrawn="1"/>
        </p:nvCxnSpPr>
        <p:spPr bwMode="gray">
          <a:xfrm>
            <a:off x="775218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AB6ABF2-EFFB-4CE2-8CB0-CBDBE92C8DA9}"/>
              </a:ext>
            </a:extLst>
          </p:cNvPr>
          <p:cNvCxnSpPr/>
          <p:nvPr userDrawn="1"/>
        </p:nvCxnSpPr>
        <p:spPr bwMode="gray">
          <a:xfrm>
            <a:off x="343170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AB10B74-3A0F-4D6B-8BC7-5A2C150AF60F}"/>
              </a:ext>
            </a:extLst>
          </p:cNvPr>
          <p:cNvCxnSpPr/>
          <p:nvPr userDrawn="1"/>
        </p:nvCxnSpPr>
        <p:spPr bwMode="gray">
          <a:xfrm>
            <a:off x="199154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E5BD2BF-BFB8-4C4D-A095-176EECF83788}"/>
              </a:ext>
            </a:extLst>
          </p:cNvPr>
          <p:cNvCxnSpPr/>
          <p:nvPr userDrawn="1"/>
        </p:nvCxnSpPr>
        <p:spPr bwMode="gray">
          <a:xfrm>
            <a:off x="919234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7EF2680D-5108-4368-AF58-E7FDFEFC6B94}"/>
              </a:ext>
            </a:extLst>
          </p:cNvPr>
          <p:cNvCxnSpPr/>
          <p:nvPr userDrawn="1"/>
        </p:nvCxnSpPr>
        <p:spPr bwMode="gray">
          <a:xfrm>
            <a:off x="1063250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573DA53-5984-4830-BBF7-9BBB8B8B4370}"/>
              </a:ext>
            </a:extLst>
          </p:cNvPr>
          <p:cNvCxnSpPr/>
          <p:nvPr userDrawn="1"/>
        </p:nvCxnSpPr>
        <p:spPr bwMode="gray">
          <a:xfrm>
            <a:off x="587997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E4CDE23-0EE1-4118-BB95-6F78153FA8DA}"/>
              </a:ext>
            </a:extLst>
          </p:cNvPr>
          <p:cNvCxnSpPr/>
          <p:nvPr userDrawn="1"/>
        </p:nvCxnSpPr>
        <p:spPr bwMode="gray">
          <a:xfrm>
            <a:off x="443981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BD98247-D51A-4D8E-90B4-083F85889BDD}"/>
              </a:ext>
            </a:extLst>
          </p:cNvPr>
          <p:cNvCxnSpPr/>
          <p:nvPr userDrawn="1"/>
        </p:nvCxnSpPr>
        <p:spPr bwMode="gray">
          <a:xfrm>
            <a:off x="732013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DAF85A8-CFAA-4269-A8A5-BBF7AA6F5E3E}"/>
              </a:ext>
            </a:extLst>
          </p:cNvPr>
          <p:cNvCxnSpPr/>
          <p:nvPr userDrawn="1"/>
        </p:nvCxnSpPr>
        <p:spPr bwMode="gray">
          <a:xfrm>
            <a:off x="299965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FB0F0A1-40F0-4593-9FF0-D16101388B10}"/>
              </a:ext>
            </a:extLst>
          </p:cNvPr>
          <p:cNvCxnSpPr/>
          <p:nvPr userDrawn="1"/>
        </p:nvCxnSpPr>
        <p:spPr bwMode="gray">
          <a:xfrm>
            <a:off x="155949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5902581-8707-4A65-B37E-FB944EFD93BE}"/>
              </a:ext>
            </a:extLst>
          </p:cNvPr>
          <p:cNvCxnSpPr/>
          <p:nvPr userDrawn="1"/>
        </p:nvCxnSpPr>
        <p:spPr bwMode="gray">
          <a:xfrm>
            <a:off x="876029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8E1B6AB-1932-4CC0-97FF-871E789F03BC}"/>
              </a:ext>
            </a:extLst>
          </p:cNvPr>
          <p:cNvCxnSpPr/>
          <p:nvPr userDrawn="1"/>
        </p:nvCxnSpPr>
        <p:spPr bwMode="gray">
          <a:xfrm>
            <a:off x="1020045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C0AE624-4799-4D64-8F53-CAB400BB8F31}"/>
              </a:ext>
            </a:extLst>
          </p:cNvPr>
          <p:cNvCxnSpPr/>
          <p:nvPr userDrawn="1"/>
        </p:nvCxnSpPr>
        <p:spPr bwMode="gray">
          <a:xfrm>
            <a:off x="479376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9B434B9-6CA8-49D7-9A8B-3D6CF6B20C40}"/>
              </a:ext>
            </a:extLst>
          </p:cNvPr>
          <p:cNvCxnSpPr/>
          <p:nvPr userDrawn="1"/>
        </p:nvCxnSpPr>
        <p:spPr bwMode="gray">
          <a:xfrm>
            <a:off x="11712624" y="-189392"/>
            <a:ext cx="0" cy="90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3CDDF9B-7F09-407C-9656-7445C8297825}"/>
              </a:ext>
            </a:extLst>
          </p:cNvPr>
          <p:cNvCxnSpPr/>
          <p:nvPr userDrawn="1"/>
        </p:nvCxnSpPr>
        <p:spPr bwMode="gray">
          <a:xfrm>
            <a:off x="-240704" y="1484784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D7C7F322-461A-4522-B667-A4A50BF1A1A0}"/>
              </a:ext>
            </a:extLst>
          </p:cNvPr>
          <p:cNvCxnSpPr/>
          <p:nvPr userDrawn="1"/>
        </p:nvCxnSpPr>
        <p:spPr bwMode="gray">
          <a:xfrm>
            <a:off x="-240704" y="6165304"/>
            <a:ext cx="9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605C544-F4E9-4074-90A4-E09D2AE2DA70}"/>
              </a:ext>
            </a:extLst>
          </p:cNvPr>
          <p:cNvCxnSpPr/>
          <p:nvPr userDrawn="1"/>
        </p:nvCxnSpPr>
        <p:spPr bwMode="gray">
          <a:xfrm>
            <a:off x="-240704" y="6021288"/>
            <a:ext cx="9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ate Placeholder">
            <a:extLst>
              <a:ext uri="{FF2B5EF4-FFF2-40B4-BE49-F238E27FC236}">
                <a16:creationId xmlns:a16="http://schemas.microsoft.com/office/drawing/2014/main" id="{1BA4D341-05AB-4CF0-83B0-2FEA10A04C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79424" y="6525345"/>
            <a:ext cx="731520" cy="17999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900" baseline="0"/>
            </a:lvl1pPr>
          </a:lstStyle>
          <a:p>
            <a:fld id="{3CD733F0-AFC7-49A6-BC53-E42245A474DF}" type="datetime1">
              <a:rPr lang="en-US" altLang="zh-CN" smtClean="0"/>
              <a:pPr/>
              <a:t>9/27/2023</a:t>
            </a:fld>
            <a:endParaRPr lang="en-US" altLang="zh-CN" dirty="0"/>
          </a:p>
        </p:txBody>
      </p:sp>
      <p:sp>
        <p:nvSpPr>
          <p:cNvPr id="31" name="Footer Placeholder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525344"/>
            <a:ext cx="7056248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defRPr sz="900" baseline="0">
                <a:solidFill>
                  <a:schemeClr val="tx1"/>
                </a:solidFill>
              </a:defRPr>
            </a:lvl1pPr>
            <a:lvl2pPr marL="0" indent="0">
              <a:defRPr sz="900"/>
            </a:lvl2pPr>
            <a:lvl3pPr marL="0" indent="0">
              <a:defRPr sz="900"/>
            </a:lvl3pPr>
            <a:lvl4pPr marL="0" indent="0">
              <a:defRPr sz="900"/>
            </a:lvl4pPr>
            <a:lvl5pPr marL="0" indent="0">
              <a:defRPr sz="900"/>
            </a:lvl5pPr>
            <a:lvl6pPr marL="0" indent="0">
              <a:defRPr sz="900"/>
            </a:lvl6pPr>
            <a:lvl7pPr marL="0" indent="0">
              <a:defRPr sz="900"/>
            </a:lvl7pPr>
            <a:lvl8pPr marL="0" indent="0">
              <a:defRPr sz="900"/>
            </a:lvl8pPr>
            <a:lvl9pPr marL="0" indent="0">
              <a:defRPr sz="900"/>
            </a:lvl9pPr>
          </a:lstStyle>
          <a:p>
            <a:endParaRPr lang="en-US" altLang="zh-CN" dirty="0"/>
          </a:p>
        </p:txBody>
      </p:sp>
      <p:sp>
        <p:nvSpPr>
          <p:cNvPr id="32" name="Slide Number Placeholder"/>
          <p:cNvSpPr>
            <a:spLocks noGrp="1"/>
          </p:cNvSpPr>
          <p:nvPr>
            <p:ph type="sldNum" sz="quarter" idx="4"/>
          </p:nvPr>
        </p:nvSpPr>
        <p:spPr bwMode="gray">
          <a:xfrm>
            <a:off x="11352584" y="6525344"/>
            <a:ext cx="36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CCF10D83-73B2-4D20-BE53-AA27B2521160}" type="slidenum">
              <a:rPr lang="en-US" altLang="zh-CN" smtClean="0"/>
              <a:pPr/>
              <a:t>‹N›</a:t>
            </a:fld>
            <a:endParaRPr lang="en-US" altLang="zh-CN" dirty="0"/>
          </a:p>
        </p:txBody>
      </p:sp>
      <p:sp>
        <p:nvSpPr>
          <p:cNvPr id="66" name="Copyright German" hidden="1">
            <a:extLst>
              <a:ext uri="{FF2B5EF4-FFF2-40B4-BE49-F238E27FC236}">
                <a16:creationId xmlns:a16="http://schemas.microsoft.com/office/drawing/2014/main" id="{E222EFFF-BCCD-45FF-9CF1-89A754A53793}"/>
              </a:ext>
            </a:extLst>
          </p:cNvPr>
          <p:cNvSpPr txBox="1">
            <a:spLocks/>
          </p:cNvSpPr>
          <p:nvPr userDrawn="1">
            <p:custDataLst>
              <p:tags r:id="rId28"/>
            </p:custDataLst>
          </p:nvPr>
        </p:nvSpPr>
        <p:spPr bwMode="gray">
          <a:xfrm>
            <a:off x="8400256" y="6453337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 altLang="zh-CN"/>
              <a:t>Alle Rechte vorbehalten für Schaeffler Technologies AG &amp; Co. KG, insbesondere für den Fall einer Schutzrechtserteilung.</a:t>
            </a:r>
            <a:endParaRPr lang="en-US" altLang="zh-CN" dirty="0"/>
          </a:p>
        </p:txBody>
      </p:sp>
      <p:sp>
        <p:nvSpPr>
          <p:cNvPr id="68" name="Copyright English">
            <a:extLst>
              <a:ext uri="{FF2B5EF4-FFF2-40B4-BE49-F238E27FC236}">
                <a16:creationId xmlns:a16="http://schemas.microsoft.com/office/drawing/2014/main" id="{D74DA198-FB61-4CAB-9176-F7513B1C996F}"/>
              </a:ext>
            </a:extLst>
          </p:cNvPr>
          <p:cNvSpPr txBox="1">
            <a:spLocks/>
          </p:cNvSpPr>
          <p:nvPr userDrawn="1">
            <p:custDataLst>
              <p:tags r:id="rId29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 altLang="zh-CN" dirty="0"/>
              <a:t>All rights reserved to Schaeffler Automotive </a:t>
            </a:r>
            <a:r>
              <a:rPr lang="en-US" altLang="zh-CN" dirty="0" err="1"/>
              <a:t>Buehl</a:t>
            </a:r>
            <a:r>
              <a:rPr lang="en-US" altLang="zh-CN" dirty="0"/>
              <a:t> GmbH &amp; Co. KG, in particular in case of grant of an IP </a:t>
            </a:r>
            <a:r>
              <a:rPr lang="en-US" altLang="zh-CN"/>
              <a:t>right.</a:t>
            </a:r>
            <a:endParaRPr lang="en-US" altLang="zh-CN" dirty="0"/>
          </a:p>
        </p:txBody>
      </p:sp>
      <p:sp>
        <p:nvSpPr>
          <p:cNvPr id="69" name="Copyright Portuguese" hidden="1">
            <a:extLst>
              <a:ext uri="{FF2B5EF4-FFF2-40B4-BE49-F238E27FC236}">
                <a16:creationId xmlns:a16="http://schemas.microsoft.com/office/drawing/2014/main" id="{2B2D4DF0-645A-466D-BB77-BC809DCA63B5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altLang="zh-CN" dirty="0"/>
          </a:p>
        </p:txBody>
      </p:sp>
      <p:sp>
        <p:nvSpPr>
          <p:cNvPr id="70" name="Copyright Chinese" hidden="1">
            <a:extLst>
              <a:ext uri="{FF2B5EF4-FFF2-40B4-BE49-F238E27FC236}">
                <a16:creationId xmlns:a16="http://schemas.microsoft.com/office/drawing/2014/main" id="{0E436477-2423-4939-999C-2ED48762CAD2}"/>
              </a:ext>
            </a:extLst>
          </p:cNvPr>
          <p:cNvSpPr txBox="1">
            <a:spLocks/>
          </p:cNvSpPr>
          <p:nvPr userDrawn="1">
            <p:custDataLst>
              <p:tags r:id="rId31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altLang="zh-CN" dirty="0"/>
          </a:p>
        </p:txBody>
      </p:sp>
      <p:sp>
        <p:nvSpPr>
          <p:cNvPr id="71" name="Copyright Spanish" hidden="1">
            <a:extLst>
              <a:ext uri="{FF2B5EF4-FFF2-40B4-BE49-F238E27FC236}">
                <a16:creationId xmlns:a16="http://schemas.microsoft.com/office/drawing/2014/main" id="{8119FBA1-B955-40E0-8638-CF0E508A2AB6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 bwMode="gray">
          <a:xfrm>
            <a:off x="8400256" y="6453336"/>
            <a:ext cx="2880271" cy="3269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en-US"/>
            </a:defPPr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altLang="zh-CN" dirty="0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1D64BCDF-B9F6-4D79-9C84-99610B98BACB}"/>
              </a:ext>
            </a:extLst>
          </p:cNvPr>
          <p:cNvSpPr/>
          <p:nvPr userDrawn="1">
            <p:custDataLst>
              <p:tags r:id="rId3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rgbClr val="E3E3E3"/>
          </a:solidFill>
          <a:ln w="6350">
            <a:solidFill>
              <a:srgbClr val="E3E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MSIPCMContentMarking" descr="{&quot;HashCode&quot;:-805589438,&quot;Placement&quot;:&quot;Footer&quot;,&quot;Top&quot;:522.0343,&quot;Left&quot;:459.0882,&quot;SlideWidth&quot;:960,&quot;SlideHeight&quot;:540}">
            <a:extLst>
              <a:ext uri="{FF2B5EF4-FFF2-40B4-BE49-F238E27FC236}">
                <a16:creationId xmlns:a16="http://schemas.microsoft.com/office/drawing/2014/main" id="{1B3BFBD2-A369-18FF-712D-CEE6F096A750}"/>
              </a:ext>
            </a:extLst>
          </p:cNvPr>
          <p:cNvSpPr txBox="1"/>
          <p:nvPr userDrawn="1"/>
        </p:nvSpPr>
        <p:spPr bwMode="gray">
          <a:xfrm>
            <a:off x="5830420" y="6629836"/>
            <a:ext cx="531161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800" b="0" i="0" u="none" baseline="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  <a:endParaRPr lang="en-US" sz="8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098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97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9" r:id="rId16"/>
    <p:sldLayoutId id="2147483800" r:id="rId17"/>
    <p:sldLayoutId id="2147483796" r:id="rId18"/>
    <p:sldLayoutId id="2147483798" r:id="rId19"/>
    <p:sldLayoutId id="2147483795" r:id="rId20"/>
    <p:sldLayoutId id="2147483793" r:id="rId21"/>
    <p:sldLayoutId id="2147483801" r:id="rId22"/>
    <p:sldLayoutId id="2147483802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6E5D"/>
        </a:buClr>
        <a:buSzPct val="100000"/>
        <a:buFont typeface="Calibri" panose="020F050202020403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661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39496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02">
          <p15:clr>
            <a:srgbClr val="F26B43"/>
          </p15:clr>
        </p15:guide>
        <p15:guide id="9" pos="7378">
          <p15:clr>
            <a:srgbClr val="F26B43"/>
          </p15:clr>
        </p15:guide>
        <p15:guide id="22" orient="horz" pos="3974">
          <p15:clr>
            <a:srgbClr val="F26B43"/>
          </p15:clr>
        </p15:guide>
        <p15:guide id="24" orient="horz" pos="1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5559E2-53A7-4DD0-991C-C157A4F865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zh-CN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3D307C6-09FA-079F-2C8A-295470090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896" y="0"/>
            <a:ext cx="9174700" cy="6858000"/>
          </a:xfrm>
          <a:prstGeom prst="rect">
            <a:avLst/>
          </a:prstGeom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FE11A10-046E-8E13-53F1-933A2DBC7513}"/>
              </a:ext>
            </a:extLst>
          </p:cNvPr>
          <p:cNvCxnSpPr/>
          <p:nvPr/>
        </p:nvCxnSpPr>
        <p:spPr bwMode="gray">
          <a:xfrm>
            <a:off x="839416" y="3501008"/>
            <a:ext cx="5040560" cy="72008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90D62976-13BD-16D1-8B06-8178925397C5}"/>
              </a:ext>
            </a:extLst>
          </p:cNvPr>
          <p:cNvSpPr txBox="1"/>
          <p:nvPr/>
        </p:nvSpPr>
        <p:spPr bwMode="gray">
          <a:xfrm>
            <a:off x="2567608" y="3573016"/>
            <a:ext cx="1152128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400" b="0" i="0" u="none" baseline="0" dirty="0">
                <a:solidFill>
                  <a:srgbClr val="FF0000"/>
                </a:solidFill>
                <a:latin typeface="Calibri" panose="020F0502020204030204" pitchFamily="34" charset="0"/>
              </a:rPr>
              <a:t>Width in m?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C610E80-1C43-29E5-5AA5-DD394A04C899}"/>
              </a:ext>
            </a:extLst>
          </p:cNvPr>
          <p:cNvSpPr txBox="1"/>
          <p:nvPr/>
        </p:nvSpPr>
        <p:spPr bwMode="gray">
          <a:xfrm>
            <a:off x="9624392" y="3321568"/>
            <a:ext cx="2043462" cy="43088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4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s this area covered with gravel or what is it, please?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051153E-4B17-8E2D-F071-B77B8C876993}"/>
              </a:ext>
            </a:extLst>
          </p:cNvPr>
          <p:cNvCxnSpPr/>
          <p:nvPr/>
        </p:nvCxnSpPr>
        <p:spPr bwMode="gray">
          <a:xfrm flipH="1">
            <a:off x="8760296" y="3573016"/>
            <a:ext cx="720080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9B7FD076-1518-2CAE-D271-AF3A55439568}"/>
              </a:ext>
            </a:extLst>
          </p:cNvPr>
          <p:cNvSpPr txBox="1"/>
          <p:nvPr/>
        </p:nvSpPr>
        <p:spPr bwMode="gray">
          <a:xfrm>
            <a:off x="9624392" y="1124744"/>
            <a:ext cx="1971454" cy="86177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400" b="0" i="0" u="none" baseline="0" dirty="0">
                <a:solidFill>
                  <a:srgbClr val="FF0000"/>
                </a:solidFill>
                <a:latin typeface="Calibri" panose="020F0502020204030204" pitchFamily="34" charset="0"/>
              </a:rPr>
              <a:t>Which way is the truck supposed to park here? Please mark positioning with a squar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0F7B736-7902-2A98-056C-030B25B08E48}"/>
              </a:ext>
            </a:extLst>
          </p:cNvPr>
          <p:cNvSpPr txBox="1"/>
          <p:nvPr/>
        </p:nvSpPr>
        <p:spPr bwMode="gray">
          <a:xfrm>
            <a:off x="9624392" y="4221088"/>
            <a:ext cx="740780" cy="2154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14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IS GRAVEL</a:t>
            </a:r>
          </a:p>
        </p:txBody>
      </p:sp>
    </p:spTree>
    <p:extLst>
      <p:ext uri="{BB962C8B-B14F-4D97-AF65-F5344CB8AC3E}">
        <p14:creationId xmlns:p14="http://schemas.microsoft.com/office/powerpoint/2010/main" val="1777850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1D4D8CE-01AF-A143-99BD-C7B46778F5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4" t="-6951" r="-1534" b="31751"/>
          <a:stretch/>
        </p:blipFill>
        <p:spPr>
          <a:xfrm>
            <a:off x="263352" y="-243408"/>
            <a:ext cx="10043031" cy="5517232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EA987498-E55F-E983-A224-58BEC38E8E90}"/>
              </a:ext>
            </a:extLst>
          </p:cNvPr>
          <p:cNvSpPr/>
          <p:nvPr/>
        </p:nvSpPr>
        <p:spPr bwMode="gray">
          <a:xfrm>
            <a:off x="1703512" y="3176972"/>
            <a:ext cx="2664296" cy="50405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0" u="none" baseline="0" dirty="0">
                <a:solidFill>
                  <a:srgbClr val="FF0000"/>
                </a:solidFill>
                <a:latin typeface="Calibri" panose="020F0502020204030204" pitchFamily="34" charset="0"/>
              </a:rPr>
              <a:t>Truck here possible???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868F45DC-D77D-F159-892D-CEF4AF57CE95}"/>
              </a:ext>
            </a:extLst>
          </p:cNvPr>
          <p:cNvCxnSpPr/>
          <p:nvPr/>
        </p:nvCxnSpPr>
        <p:spPr bwMode="gray">
          <a:xfrm>
            <a:off x="1631504" y="2996952"/>
            <a:ext cx="3096344" cy="0"/>
          </a:xfrm>
          <a:prstGeom prst="straightConnector1">
            <a:avLst/>
          </a:prstGeom>
          <a:ln w="12700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85949808-A71A-7E7E-877D-353B2D7757E3}"/>
              </a:ext>
            </a:extLst>
          </p:cNvPr>
          <p:cNvSpPr txBox="1"/>
          <p:nvPr/>
        </p:nvSpPr>
        <p:spPr bwMode="gray">
          <a:xfrm>
            <a:off x="2099556" y="2709211"/>
            <a:ext cx="216024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400" b="1" i="0" u="none" baseline="0" dirty="0">
                <a:solidFill>
                  <a:srgbClr val="FFC000"/>
                </a:solidFill>
                <a:latin typeface="Calibri" panose="020F0502020204030204" pitchFamily="34" charset="0"/>
              </a:rPr>
              <a:t>Length of parking area in m?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5E9CDD5-BEF9-59AD-892B-E38C4D599964}"/>
              </a:ext>
            </a:extLst>
          </p:cNvPr>
          <p:cNvSpPr txBox="1"/>
          <p:nvPr/>
        </p:nvSpPr>
        <p:spPr bwMode="gray">
          <a:xfrm>
            <a:off x="2279576" y="4261982"/>
            <a:ext cx="2515112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2000" b="1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TRUCK HERE : POSSIBLE</a:t>
            </a:r>
          </a:p>
        </p:txBody>
      </p:sp>
    </p:spTree>
    <p:extLst>
      <p:ext uri="{BB962C8B-B14F-4D97-AF65-F5344CB8AC3E}">
        <p14:creationId xmlns:p14="http://schemas.microsoft.com/office/powerpoint/2010/main" val="2538653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Tm="2000">
        <p159:morph option="byObject"/>
      </p:transition>
    </mc:Choice>
    <mc:Fallback xmlns:p14="http://schemas.microsoft.com/office/powerpoint/2010/main" xmlns="">
      <p:transition spd="slow" advTm="2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91B67C53-B6A3-85B5-EA65-A4FF17EEE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7000"/>
            <a:ext cx="12192000" cy="66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445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B587BA65-2F4C-BA49-19F3-736B35A07A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5859"/>
            <a:ext cx="11750698" cy="6858000"/>
          </a:xfrm>
          <a:prstGeom prst="rect">
            <a:avLst/>
          </a:prstGeom>
        </p:spPr>
      </p:pic>
      <p:cxnSp>
        <p:nvCxnSpPr>
          <p:cNvPr id="5" name="Connettore 2 4">
            <a:extLst>
              <a:ext uri="{FF2B5EF4-FFF2-40B4-BE49-F238E27FC236}">
                <a16:creationId xmlns:a16="http://schemas.microsoft.com/office/drawing/2014/main" id="{B0F62F56-20B6-517F-6CBE-5D3FBA050267}"/>
              </a:ext>
            </a:extLst>
          </p:cNvPr>
          <p:cNvCxnSpPr/>
          <p:nvPr/>
        </p:nvCxnSpPr>
        <p:spPr bwMode="gray">
          <a:xfrm flipV="1">
            <a:off x="4511824" y="3501008"/>
            <a:ext cx="576064" cy="72008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2 6">
            <a:extLst>
              <a:ext uri="{FF2B5EF4-FFF2-40B4-BE49-F238E27FC236}">
                <a16:creationId xmlns:a16="http://schemas.microsoft.com/office/drawing/2014/main" id="{DCF08B08-8D8F-F0E4-EC92-BF62C5225B43}"/>
              </a:ext>
            </a:extLst>
          </p:cNvPr>
          <p:cNvCxnSpPr/>
          <p:nvPr/>
        </p:nvCxnSpPr>
        <p:spPr bwMode="gray">
          <a:xfrm flipH="1">
            <a:off x="5447928" y="2492896"/>
            <a:ext cx="504056" cy="64807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9A1D0EE-0FC0-A032-FB22-0C825487C165}"/>
              </a:ext>
            </a:extLst>
          </p:cNvPr>
          <p:cNvSpPr txBox="1"/>
          <p:nvPr/>
        </p:nvSpPr>
        <p:spPr bwMode="gray">
          <a:xfrm rot="18691902">
            <a:off x="5087888" y="3426246"/>
            <a:ext cx="504056" cy="5078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14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17</a:t>
            </a:r>
            <a:r>
              <a:rPr lang="it-IT" sz="14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it-IT" sz="14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MT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endParaRPr lang="it-IT" sz="1400" b="0" i="0" u="non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EB867F4C-57F8-673D-77B3-1A64D5FDAF97}"/>
              </a:ext>
            </a:extLst>
          </p:cNvPr>
          <p:cNvCxnSpPr/>
          <p:nvPr/>
        </p:nvCxnSpPr>
        <p:spPr bwMode="gray">
          <a:xfrm>
            <a:off x="3215680" y="3501008"/>
            <a:ext cx="792088" cy="6480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D47DB4E6-A811-87DF-EA87-99B152175EA5}"/>
              </a:ext>
            </a:extLst>
          </p:cNvPr>
          <p:cNvSpPr txBox="1"/>
          <p:nvPr/>
        </p:nvSpPr>
        <p:spPr bwMode="gray">
          <a:xfrm>
            <a:off x="3194689" y="3812750"/>
            <a:ext cx="628185" cy="2154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14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4,50</a:t>
            </a:r>
            <a:r>
              <a:rPr lang="it-IT" sz="14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it-IT" sz="1400" b="0" i="0" u="none" baseline="0" dirty="0">
                <a:solidFill>
                  <a:srgbClr val="000000"/>
                </a:solidFill>
                <a:highlight>
                  <a:srgbClr val="FFFF00"/>
                </a:highlight>
                <a:latin typeface="Calibri" panose="020F0502020204030204" pitchFamily="34" charset="0"/>
              </a:rPr>
              <a:t>MT</a:t>
            </a:r>
            <a:r>
              <a:rPr lang="it-IT" sz="14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51170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VCT_SHOW_CA" val="False"/>
  <p:tag name="THINKCELLUNDODONOTDELETE" val="0"/>
  <p:tag name="MIO_CHANGETRACKING" val="true"/>
  <p:tag name="MIO_PRESENTATION_LANGUAGE" val="1033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4qCl01gb1tIs8zdQi/8TTQFAAAAAAADAAAAAAADAAAAAwADAAAAAAD///////8DAAAAAAD///////8DAAEA////////BAAAAAMAEAALkkG1uvCukkuWveFEvR6Ct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qCl01gb1tIs8zdQi/8TTQDRGF0YQAbAAAABExpbmtlZFNoYXBlRGF0YQAFAAAAAAACTmFtZQAZAAAATGlua2VkU2hhcGVzRGF0YVByb3BlcnR5ABBWZXJzaW9uAAAAAAAJTGFzdFdyaXRlAJ6om9aKAQAAAAEA/////8YAxgAAAAVfaWQAEAAAAASSQbW68K6SS5a94US9HoK1A0RhdGEAUwAAAAhQcmVzZW50YXRpb25TY2FubmVkRm9yTGlua2VkU2hhcGVzAAECTnVtYmVyRm9ybWF0U2VwYXJhdG9yTW9kZQAKAAAAQXV0b21hdGljAAACTmFtZQAkAAAATGlua2VkU2hhcGVQcmVzZW50YXRpb25TZXR0aW5nc0RhdGEAEFZlcnNpb24AAAAAAAlMYXN0V3JpdGUAX6mb1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"/>
  <p:tag name="MIO_SHOW_DATE" val="True"/>
  <p:tag name="MIO_SHOW_FOOTER" val="True"/>
  <p:tag name="MIO_SHOW_PAGENUMBER" val="True"/>
  <p:tag name="MIO_AVOID_BLANK_LAYOUT" val="False"/>
  <p:tag name="MIO_CD_LAYOUT_VALID_AREA" val="False"/>
  <p:tag name="MIO_EMBED_FONT" val="False"/>
  <p:tag name="MIO_MATCH_COLOR_SCHEME" val="False"/>
  <p:tag name="MIO_NUMBER_OF_VALID_LAYOUTS" val="23"/>
  <p:tag name="MIO_HDS" val="True"/>
  <p:tag name="MIO_SKIPVERSION" val="01.01.0001 00:00:00"/>
  <p:tag name="MIO_EKGUID" val="e64769c6-6faf-4640-b0aa-ce944e4358c7"/>
  <p:tag name="MIO_UPDATE" val="True"/>
  <p:tag name="MIO_VERSION" val="20.04.2023 10:02:23"/>
  <p:tag name="MIO_DBID" val="E0259410-156D-4F1A-B326-E95E43C8DB51"/>
  <p:tag name="MIO_LASTDOWNLOADED" val="20.04.2023 16:53:51.603"/>
  <p:tag name="MIO_OBJECTNAME" val="Schaeffler Master 16:9"/>
  <p:tag name="MIO_LASTEDITORNAME" val="Maciej Pieniak"/>
  <p:tag name="MIO_CDID" val="da3a8340-9267-4983-aec9-a668652af21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Iq4DgBZPWMpJeGIHTk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1"/>
  <p:tag name="MIO_HDS" val="True"/>
  <p:tag name="MIO_EK" val="6648"/>
  <p:tag name="MIO_EKGUID" val="ca5d887e-a718-4696-85fb-95a0134e88fd"/>
  <p:tag name="MIO_UPDATE" val="True"/>
  <p:tag name="MIO_VERSION" val="20.05.2019 20:22:59"/>
  <p:tag name="MIO_DBID" val="E0259410-156D-4F1A-B326-E95E43C8DB51"/>
  <p:tag name="MIO_LASTDOWNLOADED" val="24.05.2019 12:15:26"/>
  <p:tag name="MIO_OBJECTNAME" val="Schaeffler Master 16:9 fixed Title2"/>
  <p:tag name="MIO_LASTEDITORNAME" val="Heike Pinther"/>
  <p:tag name="MIO_CDID" val="da3a8340-9267-4983-aec9-a668652af21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eutsch;Bitte wählen Sie einen Copyright-Text für alle Folien dieser Präsentation aus:"/>
  <p:tag name="MIO_USER_INPUT_LANGUAGE" val="de-DE"/>
  <p:tag name="MIO_USER_INPUT_OPTIONS" val=" ;Alle Rechte vorbehalten für Schaeffler Technologies AG &amp; Co. KG, insbesondere für den Fall einer Schutzrechtserteilung.;Alle Rechte vorbehalten für Schaeffler AG, insbesondere für den Fall einer Schutzrechtserteilung.;Alle Rechte vorbehalten für Schaeffler Automotive Buehl GmbH &amp; Co. KG, insbesondere für den Fall einer Schutzrechtserteilung.;Alle Rechte vorbehalten für Schaeffler Brasil Ltda., insbesondere für den Fall einer Schutzrechtserteilung.;Alle Rechte vorbehalten für Schaeffler AP, insbesondere für den Fall einer Schutzrechtserteilung.;Alle Rechte vorbehalten für Schaeffler Digital Solutions GmbH, insbesondere für den Fall einer Schutzrechtserteilung.;Alle Rechte vorbehalten für Schaeffler Aerospace Germany GmbH &amp; Co. KG, insbesondere für den Fall einer Schutzrechtserteilung.;Alle Rechte vorbehalten für Schaeffler Automotive Aftermarket GmbH &amp; Co. KG, insbesondere für den Fall einer Schutzrechtserteilung.;Alle Rechte vorbehalten für Schaeffler ByWire Technologie GmbH &amp; Co. KG, insbesondere für den Fall einer Schutzrechtserteilung.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nglish;Please choose a copyright text for all slides of this presentation:"/>
  <p:tag name="MIO_USER_INPUT_LANGUAGE" val="en-US"/>
  <p:tag name="MIO_USER_INPUT_OPTIONS" val=" ;All rights reserved to Schaeffler Technologies AG &amp; Co. KG, in particular in case of grant of an IP right.;All rights reserved to Schaeffler AG, in particular in case of grant of an IP right.;All rights reserved to Schaeffler Automotive Buehl GmbH &amp; Co. KG, in particular in case of grant of an IP right.;All rights reserved to Schaeffler Brasil Ltda., in particular in case of grant of an IP right.;All rights reserved to Schaeffler AP, in particular in case of grant of an IP right.;© Schaeffler Group USA, Inc. All rights reserved. This material may not be reproduced, displayed, modified or distributed without the express prior written permission of the copyright holder.;All rights reserved to Schaeffler Digital Solutions GmbH, in particular in case of grant of an IP right.;All rights reserved to Schaeffler Aerospace Germany GmbH &amp; Co. KG, in particular in case of grant of an IP right.;All rights reserved to Schaeffler Automotive Aftermarket GmbH &amp; Co. KG, in particular in case of grant of an IP right.;All rights reserved to Schaeffler ByWire Technologie GmbH &amp; Co. KG, in particular in case of grant of an IP right.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Portuguêse;Por favor, selecione um texto de copyright para todos os slides desta apresentação:"/>
  <p:tag name="MIO_USER_INPUT_LANGUAGE" val="pt-PT"/>
  <p:tag name="MIO_USER_INPUT_OPTIONS" val=" ;Todos os direitos reservados a Schaeffler Technologies AG &amp; Co. KG, em especial aqueles referentes ao direito de propriedade intelectual.;Todos os direitos reservados a Schaeffler AG, em especial aqueles referentes ao direito de propriedade intelectual.;Todos os direitos reservados a Schaeffler Automotive Buehl GmbH &amp; Co. KG, em especial aqueles referentes ao direito de propriedade intelectual.;Todos os direitos reservados a Schaeffler Brasil Ltda., em especial aqueles referentes ao direito de propriedade intelectual.;Todos os direitos reservados a Schaeffler AP, em especial aqueles referentes ao direito de propriedade intelectual.;Todos os direitos reservados a Schaeffler Automotive Aftermarket GmbH &amp; Co. KG, em especial aqueles referents ao direito de propriedade intelectual.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LIDE_HEA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中文;请选择版权声明:"/>
  <p:tag name="MIO_USER_INPUT_LANGUAGE" val="zh-SG"/>
  <p:tag name="MIO_USER_INPUT_OPTIONS" val=" ;版权所有Schaeffler Technologies AG &amp; Co. KG保留所有权利, 客户特殊要求，使用内部放行标准.;版权所有Schaeffler AG保留所有权利, 客户特殊要求，使用内部放行标准.;版权所有Schaeffler Automotive Buehl GmbH &amp; Co. KG保留所有权利, 客户特殊要求，使用内部放行标准.;版权所有Schaeffler Brasil Ltda.保留所有权利, 客户特殊要求，使用内部放行标准.;版权所有Schaeffler AP,保留所有权利, 客户特殊要求，使用内部放行标准.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English;Please choose a copyright text for all slides of this presentation:"/>
  <p:tag name="MIO_USER_INPUT_LANGUAGE" val="en-GB"/>
  <p:tag name="MIO_USER_INPUT_OPTIONS" val=" ;All rights reserved to Schaeffler Technologies AG &amp; Co. KG, in particular in case of grant of an IP right.;All rights reserved to Schaeffler AG, in particular in case of grant of an IP right.;All rights reserved to Schaeffler Automotive Buehl GmbH &amp; Co. KG, in particular in case of grant of an IP right.;All rights reserved to Schaeffler Brasil Ltda., in particular in case of grant of an IP right.;All rights reserved to Schaeffler AP, in particular in case of grant of an IP right.;© Schaeffler Group USA, Inc. All rights reserved. This material may not be reproduced, displayed, modified or distributed without the express prior written permission of the copyright holder.;All rights reserved to Schaeffler Digital Solutions GmbH, in particular in case of grant of an IP right.;All rights reserved to Schaeffler Aerospace Germany GmbH &amp; Co. KG, in particular in case of grant of an IP right.;All rights reserved to Schaeffler Automotive Aftermarket GmbH &amp; Co. KG, in particular in case of grant of an IP right."/>
</p:tagLst>
</file>

<file path=ppt/theme/theme1.xml><?xml version="1.0" encoding="utf-8"?>
<a:theme xmlns:a="http://schemas.openxmlformats.org/drawingml/2006/main" name="Schaeffler Master 16:9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E3E3E3"/>
      </a:lt2>
      <a:accent1>
        <a:srgbClr val="73A195"/>
      </a:accent1>
      <a:accent2>
        <a:srgbClr val="C0C6BF"/>
      </a:accent2>
      <a:accent3>
        <a:srgbClr val="878787"/>
      </a:accent3>
      <a:accent4>
        <a:srgbClr val="1D9BB2"/>
      </a:accent4>
      <a:accent5>
        <a:srgbClr val="B6BAC2"/>
      </a:accent5>
      <a:accent6>
        <a:srgbClr val="A1C861"/>
      </a:accent6>
      <a:hlink>
        <a:srgbClr val="006E5D"/>
      </a:hlink>
      <a:folHlink>
        <a:srgbClr val="73A1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E3E3E3"/>
        </a:solidFill>
        <a:ln w="6350">
          <a:solidFill>
            <a:srgbClr val="E3E3E3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rgbClr val="00893D"/>
          </a:buClr>
          <a:defRPr sz="1400" b="0" i="0" u="none" baseline="0" dirty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custClrLst>
    <a:custClr name="GREEN GRAY">
      <a:srgbClr val="C0C6BF"/>
    </a:custClr>
    <a:custClr name="#">
      <a:srgbClr val="FFFFFF"/>
    </a:custClr>
    <a:custClr name="NORDIC BLUE">
      <a:srgbClr val="1D9BB2"/>
    </a:custClr>
    <a:custClr name="SUNNY YELLOW">
      <a:srgbClr val="FFE160"/>
    </a:custClr>
    <a:custClr name="LIME">
      <a:srgbClr val="A1C861"/>
    </a:custClr>
    <a:custClr name="#">
      <a:srgbClr val="FFFFFF"/>
    </a:custClr>
    <a:custClr name="Special color / Gold">
      <a:srgbClr val="C6AC02"/>
    </a:custClr>
    <a:custClr name="Special color / Red">
      <a:srgbClr val="A31739"/>
    </a:custClr>
    <a:custClr name="Special color / Blue">
      <a:srgbClr val="036590"/>
    </a:custClr>
    <a:custClr name="Special color / Green">
      <a:srgbClr val="006E5D"/>
    </a:custClr>
    <a:custClr name="DARK BLUE GRAY">
      <a:srgbClr val="B6BAC2"/>
    </a:custClr>
    <a:custClr name="#">
      <a:srgbClr val="FFFFFF"/>
    </a:custClr>
    <a:custClr>
      <a:srgbClr val="56B3C5"/>
    </a:custClr>
    <a:custClr>
      <a:srgbClr val="FFE988"/>
    </a:custClr>
    <a:custClr>
      <a:srgbClr val="B9D689"/>
    </a:custClr>
    <a:custClr name="#">
      <a:srgbClr val="FFFFFF"/>
    </a:custClr>
    <a:custClr>
      <a:srgbClr val="E3D07D"/>
    </a:custClr>
    <a:custClr>
      <a:srgbClr val="CE7E96"/>
    </a:custClr>
    <a:custClr>
      <a:srgbClr val="7EA7C2"/>
    </a:custClr>
    <a:custClr>
      <a:srgbClr val="73A195"/>
    </a:custClr>
    <a:custClr name="BLUE GRAY">
      <a:srgbClr val="CED5DA"/>
    </a:custClr>
    <a:custClr name="#">
      <a:srgbClr val="FFFFFF"/>
    </a:custClr>
    <a:custClr>
      <a:srgbClr val="8ECCD8"/>
    </a:custClr>
    <a:custClr>
      <a:srgbClr val="FFF0AF"/>
    </a:custClr>
    <a:custClr>
      <a:srgbClr val="D0E3B0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SILVER GRAY">
      <a:srgbClr val="E3E3E3"/>
    </a:custClr>
    <a:custClr name="#">
      <a:srgbClr val="FFFFFF"/>
    </a:custClr>
    <a:custClr>
      <a:srgbClr val="C6E6EB"/>
    </a:custClr>
    <a:custClr>
      <a:srgbClr val="FFF7D7"/>
    </a:custClr>
    <a:custClr>
      <a:srgbClr val="E7F1D7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  <a:custClr name="#">
      <a:srgbClr val="FFFFFF"/>
    </a:custClr>
  </a:custClrLst>
  <a:extLst>
    <a:ext uri="{05A4C25C-085E-4340-85A3-A5531E510DB2}">
      <thm15:themeFamily xmlns:thm15="http://schemas.microsoft.com/office/thememl/2012/main" name="Default Theme.pptx" id="{DE568440-D5EC-4302-B3EF-0B174AA5E126}" vid="{90F1D499-624C-4E0E-B5DC-A82ECB069B0C}"/>
    </a:ext>
  </a:extLst>
</a:theme>
</file>

<file path=ppt/theme/theme2.xml><?xml version="1.0" encoding="utf-8"?>
<a:theme xmlns:a="http://schemas.openxmlformats.org/drawingml/2006/main" name="Office Theme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00893D"/>
      </a:lt2>
      <a:accent1>
        <a:srgbClr val="73A195"/>
      </a:accent1>
      <a:accent2>
        <a:srgbClr val="C0C6BF"/>
      </a:accent2>
      <a:accent3>
        <a:srgbClr val="878787"/>
      </a:accent3>
      <a:accent4>
        <a:srgbClr val="187E91"/>
      </a:accent4>
      <a:accent5>
        <a:srgbClr val="B6BAC2"/>
      </a:accent5>
      <a:accent6>
        <a:srgbClr val="B3D182"/>
      </a:accent6>
      <a:hlink>
        <a:srgbClr val="00893D"/>
      </a:hlink>
      <a:folHlink>
        <a:srgbClr val="26262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chaeffler">
      <a:dk1>
        <a:srgbClr val="262626"/>
      </a:dk1>
      <a:lt1>
        <a:srgbClr val="FFFFFF"/>
      </a:lt1>
      <a:dk2>
        <a:srgbClr val="646464"/>
      </a:dk2>
      <a:lt2>
        <a:srgbClr val="00893D"/>
      </a:lt2>
      <a:accent1>
        <a:srgbClr val="73A195"/>
      </a:accent1>
      <a:accent2>
        <a:srgbClr val="C0C6BF"/>
      </a:accent2>
      <a:accent3>
        <a:srgbClr val="878787"/>
      </a:accent3>
      <a:accent4>
        <a:srgbClr val="187E91"/>
      </a:accent4>
      <a:accent5>
        <a:srgbClr val="B6BAC2"/>
      </a:accent5>
      <a:accent6>
        <a:srgbClr val="B3D182"/>
      </a:accent6>
      <a:hlink>
        <a:srgbClr val="00893D"/>
      </a:hlink>
      <a:folHlink>
        <a:srgbClr val="26262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59</Words>
  <Application>Microsoft Office PowerPoint</Application>
  <PresentationFormat>Widescreen</PresentationFormat>
  <Paragraphs>13</Paragraphs>
  <Slides>4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Wingdings 3</vt:lpstr>
      <vt:lpstr>Schaeffler Master 16:9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ndsay, Hanka  SI/SWE-IPM</dc:creator>
  <dc:description>Office 2016</dc:description>
  <cp:lastModifiedBy>Luigi</cp:lastModifiedBy>
  <cp:revision>4</cp:revision>
  <dcterms:created xsi:type="dcterms:W3CDTF">2023-09-27T12:27:04Z</dcterms:created>
  <dcterms:modified xsi:type="dcterms:W3CDTF">2023-09-27T13:3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400c169-dce1-41e3-9e1a-6d4e0f7996c6_Enabled">
    <vt:lpwstr>true</vt:lpwstr>
  </property>
  <property fmtid="{D5CDD505-2E9C-101B-9397-08002B2CF9AE}" pid="3" name="MSIP_Label_e400c169-dce1-41e3-9e1a-6d4e0f7996c6_SetDate">
    <vt:lpwstr>2023-09-27T12:36:44Z</vt:lpwstr>
  </property>
  <property fmtid="{D5CDD505-2E9C-101B-9397-08002B2CF9AE}" pid="4" name="MSIP_Label_e400c169-dce1-41e3-9e1a-6d4e0f7996c6_Method">
    <vt:lpwstr>Privileged</vt:lpwstr>
  </property>
  <property fmtid="{D5CDD505-2E9C-101B-9397-08002B2CF9AE}" pid="5" name="MSIP_Label_e400c169-dce1-41e3-9e1a-6d4e0f7996c6_Name">
    <vt:lpwstr>Public</vt:lpwstr>
  </property>
  <property fmtid="{D5CDD505-2E9C-101B-9397-08002B2CF9AE}" pid="6" name="MSIP_Label_e400c169-dce1-41e3-9e1a-6d4e0f7996c6_SiteId">
    <vt:lpwstr>67416604-6509-4014-9859-45e709f53d3f</vt:lpwstr>
  </property>
  <property fmtid="{D5CDD505-2E9C-101B-9397-08002B2CF9AE}" pid="7" name="MSIP_Label_e400c169-dce1-41e3-9e1a-6d4e0f7996c6_ActionId">
    <vt:lpwstr>c0eaf480-7865-48fa-bbac-8372b8fb2611</vt:lpwstr>
  </property>
  <property fmtid="{D5CDD505-2E9C-101B-9397-08002B2CF9AE}" pid="8" name="MSIP_Label_e400c169-dce1-41e3-9e1a-6d4e0f7996c6_ContentBits">
    <vt:lpwstr>2</vt:lpwstr>
  </property>
</Properties>
</file>